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332" r:id="rId2"/>
    <p:sldId id="2333" r:id="rId3"/>
    <p:sldId id="2334" r:id="rId4"/>
  </p:sldIdLst>
  <p:sldSz cx="12192000" cy="6858000"/>
  <p:notesSz cx="6858000" cy="9144000"/>
  <p:custDataLst>
    <p:tags r:id="rId5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68" d="100"/>
          <a:sy n="68" d="100"/>
        </p:scale>
        <p:origin x="58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85D-4210-8188-95336DAD99A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Středočeský kraj</c:v>
                </c:pt>
                <c:pt idx="3">
                  <c:v>Zlínský kraj</c:v>
                </c:pt>
                <c:pt idx="4">
                  <c:v>Plzeňský kraj</c:v>
                </c:pt>
                <c:pt idx="5">
                  <c:v>Jihomoravský kraj</c:v>
                </c:pt>
                <c:pt idx="6">
                  <c:v>Liberecký kraj</c:v>
                </c:pt>
                <c:pt idx="7">
                  <c:v>Olomoucký kraj</c:v>
                </c:pt>
                <c:pt idx="8">
                  <c:v>Ústecký kraj</c:v>
                </c:pt>
                <c:pt idx="9">
                  <c:v>ČR</c:v>
                </c:pt>
                <c:pt idx="10">
                  <c:v>Moravskoslezský kraj</c:v>
                </c:pt>
                <c:pt idx="11">
                  <c:v>Pardubický kraj</c:v>
                </c:pt>
                <c:pt idx="12">
                  <c:v>Královéhrade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57575757575700004</c:v>
                </c:pt>
                <c:pt idx="1">
                  <c:v>0.50340136054399998</c:v>
                </c:pt>
                <c:pt idx="2">
                  <c:v>0.49572649572600003</c:v>
                </c:pt>
                <c:pt idx="3">
                  <c:v>0.4921875</c:v>
                </c:pt>
                <c:pt idx="4">
                  <c:v>0.41125541125499998</c:v>
                </c:pt>
                <c:pt idx="5">
                  <c:v>0.38144329896899998</c:v>
                </c:pt>
                <c:pt idx="6">
                  <c:v>0.37</c:v>
                </c:pt>
                <c:pt idx="7">
                  <c:v>0.34499999999999997</c:v>
                </c:pt>
                <c:pt idx="8">
                  <c:v>0.34251968503899999</c:v>
                </c:pt>
                <c:pt idx="9">
                  <c:v>0.32835820895500001</c:v>
                </c:pt>
                <c:pt idx="10">
                  <c:v>0.32786885245899999</c:v>
                </c:pt>
                <c:pt idx="11">
                  <c:v>0.312</c:v>
                </c:pt>
                <c:pt idx="12">
                  <c:v>0.29646017699100002</c:v>
                </c:pt>
                <c:pt idx="13">
                  <c:v>0.24096385542099999</c:v>
                </c:pt>
                <c:pt idx="14">
                  <c:v>0.143405889883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87C-4B26-A62C-8D83AD5809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Kraj Vysočina</c:v>
                </c:pt>
                <c:pt idx="2">
                  <c:v>Jihočeský kraj</c:v>
                </c:pt>
                <c:pt idx="3">
                  <c:v>Středočeský kraj</c:v>
                </c:pt>
                <c:pt idx="4">
                  <c:v>Ústecký kraj</c:v>
                </c:pt>
                <c:pt idx="5">
                  <c:v>Jihomoravský kraj</c:v>
                </c:pt>
                <c:pt idx="6">
                  <c:v>Plzeňský kraj</c:v>
                </c:pt>
                <c:pt idx="7">
                  <c:v>Olomoucký kraj</c:v>
                </c:pt>
                <c:pt idx="8">
                  <c:v>Liberecký kraj</c:v>
                </c:pt>
                <c:pt idx="9">
                  <c:v>ČR</c:v>
                </c:pt>
                <c:pt idx="10">
                  <c:v>Moravskoslezský kraj</c:v>
                </c:pt>
                <c:pt idx="11">
                  <c:v>Karlovarský kraj</c:v>
                </c:pt>
                <c:pt idx="12">
                  <c:v>Královéhradecký kraj</c:v>
                </c:pt>
                <c:pt idx="13">
                  <c:v>Pardubic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47297297297200003</c:v>
                </c:pt>
                <c:pt idx="1">
                  <c:v>0.43548387096699998</c:v>
                </c:pt>
                <c:pt idx="2">
                  <c:v>0.390625</c:v>
                </c:pt>
                <c:pt idx="3">
                  <c:v>0.38260869565200001</c:v>
                </c:pt>
                <c:pt idx="4">
                  <c:v>0.33043478260800002</c:v>
                </c:pt>
                <c:pt idx="5">
                  <c:v>0.325123152709</c:v>
                </c:pt>
                <c:pt idx="6">
                  <c:v>0.306569343065</c:v>
                </c:pt>
                <c:pt idx="7">
                  <c:v>0.303225806451</c:v>
                </c:pt>
                <c:pt idx="8">
                  <c:v>0.25316455696200002</c:v>
                </c:pt>
                <c:pt idx="9">
                  <c:v>0.25161933233599998</c:v>
                </c:pt>
                <c:pt idx="10">
                  <c:v>0.24919093851099999</c:v>
                </c:pt>
                <c:pt idx="11">
                  <c:v>0.18604651162700001</c:v>
                </c:pt>
                <c:pt idx="12">
                  <c:v>0.184</c:v>
                </c:pt>
                <c:pt idx="13">
                  <c:v>0.14035087719200001</c:v>
                </c:pt>
                <c:pt idx="14">
                  <c:v>9.594882729199999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Liberecký kraj</c:v>
                </c:pt>
                <c:pt idx="1">
                  <c:v>Kraj Vysočina</c:v>
                </c:pt>
                <c:pt idx="2">
                  <c:v>Jihočeský kraj</c:v>
                </c:pt>
                <c:pt idx="3">
                  <c:v>Pardubický kraj</c:v>
                </c:pt>
                <c:pt idx="4">
                  <c:v>Plzeňský kraj</c:v>
                </c:pt>
                <c:pt idx="5">
                  <c:v>Olomoucký kraj</c:v>
                </c:pt>
                <c:pt idx="6">
                  <c:v>Ústecký kraj</c:v>
                </c:pt>
                <c:pt idx="7">
                  <c:v>Jihomoravský kraj</c:v>
                </c:pt>
                <c:pt idx="8">
                  <c:v>ČR</c:v>
                </c:pt>
                <c:pt idx="9">
                  <c:v>Zlínský kraj</c:v>
                </c:pt>
                <c:pt idx="10">
                  <c:v>Karlovarský kraj</c:v>
                </c:pt>
                <c:pt idx="11">
                  <c:v>Středočeský kraj</c:v>
                </c:pt>
                <c:pt idx="12">
                  <c:v>Moravskoslezský kraj</c:v>
                </c:pt>
                <c:pt idx="13">
                  <c:v>Hlavní město Prah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37695078031200002</c:v>
                </c:pt>
                <c:pt idx="1">
                  <c:v>0.37315130830400001</c:v>
                </c:pt>
                <c:pt idx="2">
                  <c:v>0.30293757649899999</c:v>
                </c:pt>
                <c:pt idx="3">
                  <c:v>0.30209481808100003</c:v>
                </c:pt>
                <c:pt idx="4">
                  <c:v>0.28783382789299999</c:v>
                </c:pt>
                <c:pt idx="5">
                  <c:v>0.28282168517299999</c:v>
                </c:pt>
                <c:pt idx="6">
                  <c:v>0.272789115646</c:v>
                </c:pt>
                <c:pt idx="7">
                  <c:v>0.25554259043100003</c:v>
                </c:pt>
                <c:pt idx="8">
                  <c:v>0.24366964480200001</c:v>
                </c:pt>
                <c:pt idx="9">
                  <c:v>0.23101952277599999</c:v>
                </c:pt>
                <c:pt idx="10">
                  <c:v>0.208133971291</c:v>
                </c:pt>
                <c:pt idx="11">
                  <c:v>0.192560175054</c:v>
                </c:pt>
                <c:pt idx="12">
                  <c:v>0.189801699716</c:v>
                </c:pt>
                <c:pt idx="13">
                  <c:v>0.166718701217</c:v>
                </c:pt>
                <c:pt idx="14">
                  <c:v>0.1131520940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9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341049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9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040754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9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60998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8023493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9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920340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9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70547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9.11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2667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9.11.2021</a:t>
            </a:fld>
            <a:endParaRPr lang="cs-CZ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441608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9.11.2021</a:t>
            </a:fld>
            <a:endParaRPr lang="cs-CZ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503921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9.11.2021</a:t>
            </a:fld>
            <a:endParaRPr lang="cs-CZ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034682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9.11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963675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9.11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650562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DA3A0F-9B2E-4AAE-BF10-3AD84EB845DD}" type="datetimeFigureOut">
              <a:rPr lang="cs-CZ" smtClean="0"/>
              <a:t>09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84966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endParaRPr lang="cs-CZ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9443843"/>
              </p:ext>
            </p:extLst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692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IP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81788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UPV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408479"/>
              </p:ext>
            </p:extLst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7237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57746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tních lůžek s kyslíkem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62405"/>
              </p:ext>
            </p:extLst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5808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/>
              <a:t>lůžek s kyslíkem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9273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2</TotalTime>
  <Words>47</Words>
  <Application>Microsoft Office PowerPoint</Application>
  <PresentationFormat>Širokoúhlá obrazovka</PresentationFormat>
  <Paragraphs>6</Paragraphs>
  <Slides>3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3</vt:i4>
      </vt:variant>
    </vt:vector>
  </HeadingPairs>
  <TitlesOfParts>
    <vt:vector size="7" baseType="lpstr">
      <vt:lpstr>Arial</vt:lpstr>
      <vt:lpstr>Calibri</vt:lpstr>
      <vt:lpstr>Calibri Light</vt:lpstr>
      <vt:lpstr>Office Theme</vt:lpstr>
      <vt:lpstr>Podíl (%) volné aktuálně nahlášené kapacity JIP</vt:lpstr>
      <vt:lpstr>Podíl (%) volné aktuálně nahlášené kapacity UPV</vt:lpstr>
      <vt:lpstr>Podíl (%) volné aktuálně nahlášené kapacity standartních lůžek s kyslíke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Zouharová Anna Bc.</cp:lastModifiedBy>
  <cp:revision>11</cp:revision>
  <dcterms:created xsi:type="dcterms:W3CDTF">2021-10-29T17:14:18Z</dcterms:created>
  <dcterms:modified xsi:type="dcterms:W3CDTF">2021-11-09T18:29:32Z</dcterms:modified>
</cp:coreProperties>
</file>